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970" autoAdjust="0"/>
  </p:normalViewPr>
  <p:slideViewPr>
    <p:cSldViewPr snapToGrid="0">
      <p:cViewPr varScale="1">
        <p:scale>
          <a:sx n="60" d="100"/>
          <a:sy n="60" d="100"/>
        </p:scale>
        <p:origin x="624" y="9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0/24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0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standing in front of a group of people&#10;&#10;Description automatically generated">
            <a:extLst>
              <a:ext uri="{FF2B5EF4-FFF2-40B4-BE49-F238E27FC236}">
                <a16:creationId xmlns:a16="http://schemas.microsoft.com/office/drawing/2014/main" id="{2B9DFCFC-58B9-41A4-9FA3-B6109B716FB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0" r="7949"/>
          <a:stretch/>
        </p:blipFill>
        <p:spPr>
          <a:xfrm>
            <a:off x="7352923" y="433401"/>
            <a:ext cx="5580307" cy="336622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RINCE’S TRUST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69998" y="2010170"/>
            <a:ext cx="6685279" cy="4640958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sz="1600" dirty="0">
                <a:solidFill>
                  <a:schemeClr val="accent4"/>
                </a:solidFill>
              </a:rPr>
              <a:t>Background</a:t>
            </a:r>
            <a:br>
              <a:rPr lang="en-US" sz="1100" dirty="0">
                <a:solidFill>
                  <a:srgbClr val="FF0000"/>
                </a:solidFill>
              </a:rPr>
            </a:b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In the autumn of 2022, research had found that 2.8 million 16 to 25-year-olds didn’t think their job prospects would ever recover from the Covid-19 pandemic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Youth charity The Prince’s Trust decided to launch a new campaign to drive awareness of young people across the UK who were struggling with the repercussions of the pandemic and would also be hit hard by the cost-of-living crisis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The campaign asks the public to recognise the ‘Class of Covid’ – a generation of young people whose confidence, education and opportunities were stolen by COVID-19 and its resultant lockdown. It celebrates young people’s resilience and resourcefulness and encourages the public and employers to support The Prince’s Trust in getting them into meaningful employment.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600" dirty="0">
              <a:solidFill>
                <a:schemeClr val="accent4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sz="1600" dirty="0">
                <a:solidFill>
                  <a:schemeClr val="accent4"/>
                </a:solidFill>
              </a:rPr>
              <a:t>Plan</a:t>
            </a:r>
          </a:p>
          <a:p>
            <a:pPr>
              <a:lnSpc>
                <a:spcPct val="100000"/>
              </a:lnSpc>
            </a:pPr>
            <a:endParaRPr lang="en-GB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In a world filled with competing issues, breaking through the noise posed a significant challenge for The Prince's Trust. Recognising the complexities of launching a campaign in today's fragmented media landscape, the charity identified cinema as a pivotal channel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inema providing unparalleled attention from an affluent audience, making it indispensable for the campaign's aims and could deliver cost-efficient incremental audience reach, whilst importantly immersing viewers in an environment of heighted emotional engagement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Alongside cinema the wider channel mix included BVOD, Addressable TV, Paid Social, OOH, and PR to maximize coverage. </a:t>
            </a:r>
            <a:endParaRPr lang="en-GB" b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7DCF2B-DFEF-21CB-78BD-C35D79C7D05F}"/>
              </a:ext>
            </a:extLst>
          </p:cNvPr>
          <p:cNvSpPr/>
          <p:nvPr/>
        </p:nvSpPr>
        <p:spPr>
          <a:xfrm>
            <a:off x="-76200" y="7184527"/>
            <a:ext cx="134429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The Prince’s Trus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CM Awards Entry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B3B805F-0D89-ACCB-3889-F36BE4C48C8D}"/>
              </a:ext>
            </a:extLst>
          </p:cNvPr>
          <p:cNvSpPr txBox="1">
            <a:spLocks/>
          </p:cNvSpPr>
          <p:nvPr/>
        </p:nvSpPr>
        <p:spPr>
          <a:xfrm>
            <a:off x="197014" y="621521"/>
            <a:ext cx="12423740" cy="436608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rgbClr val="8A8A8D"/>
                </a:solidFill>
                <a:latin typeface="Arial"/>
              </a:rPr>
              <a:t>‘Class of Covid’</a:t>
            </a:r>
            <a:endParaRPr lang="en-US" dirty="0"/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97ACE42-1BE1-4BF4-A3FC-1107C2022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498646"/>
              </p:ext>
            </p:extLst>
          </p:nvPr>
        </p:nvGraphicFramePr>
        <p:xfrm>
          <a:off x="269999" y="1124065"/>
          <a:ext cx="6686491" cy="7259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298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399485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275112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37298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37298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62962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arit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lm Pac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Six</a:t>
                      </a:r>
                      <a:r>
                        <a:rPr lang="en-GB" sz="105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&amp;Partners</a:t>
                      </a:r>
                      <a:endParaRPr lang="en-GB" sz="105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AE65D7A-852B-7008-D040-2286737653B0}"/>
              </a:ext>
            </a:extLst>
          </p:cNvPr>
          <p:cNvSpPr txBox="1"/>
          <p:nvPr/>
        </p:nvSpPr>
        <p:spPr>
          <a:xfrm rot="2162226">
            <a:off x="10521652" y="729990"/>
            <a:ext cx="3511913" cy="415498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>
                <a:solidFill>
                  <a:srgbClr val="FFFFFF"/>
                </a:solidFill>
              </a:rPr>
              <a:t>DCM Awards Winners</a:t>
            </a:r>
          </a:p>
          <a:p>
            <a:pPr algn="ctr"/>
            <a:r>
              <a:rPr lang="en-GB" sz="1050" b="1" dirty="0">
                <a:solidFill>
                  <a:srgbClr val="FFFFFF"/>
                </a:solidFill>
              </a:rPr>
              <a:t>Best ‘Marketing for Good’ Cinema Campaign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11BD806-B692-7ABC-3194-795E45749F51}"/>
              </a:ext>
            </a:extLst>
          </p:cNvPr>
          <p:cNvSpPr txBox="1">
            <a:spLocks/>
          </p:cNvSpPr>
          <p:nvPr/>
        </p:nvSpPr>
        <p:spPr bwMode="gray">
          <a:xfrm>
            <a:off x="7352923" y="3915173"/>
            <a:ext cx="5580306" cy="293218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61844" rtl="0" eaLnBrk="1" latinLnBrk="0" hangingPunct="1">
              <a:lnSpc>
                <a:spcPts val="1684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sz="1600" dirty="0">
                <a:solidFill>
                  <a:schemeClr val="accent4"/>
                </a:solidFill>
              </a:rPr>
              <a:t>Results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sz="1100" b="0" dirty="0">
                <a:solidFill>
                  <a:schemeClr val="bg1"/>
                </a:solidFill>
              </a:rPr>
              <a:t>By harnessing the power of cinema to captivate audiences, The Prince’s Trust successfully engaged its target audience, raised awareness for the charity and importantly inspired action.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inema delivered an impressive 4.2% pts incremental reach to BVOD and Addressable TV, resulting in an almost 31% improvement in total cost per reach point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Research revealed that 47% felt compelled to act after being exposed to the AV creative, surpassing benchmarks set by previous campaigns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The campaign significantly increased traffic to The Prince's Trust website, with a remarkable +63% uplift in homepage visits compared to the same period YOY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Website donations also experienced a noteworthy YoY increase of +3%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1</Words>
  <Application>Microsoft Office PowerPoint</Application>
  <PresentationFormat>Custom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entury Gothic</vt:lpstr>
      <vt:lpstr>Impact</vt:lpstr>
      <vt:lpstr>Lucida Grande</vt:lpstr>
      <vt:lpstr>Wingdings</vt:lpstr>
      <vt:lpstr>1_Blank with title</vt:lpstr>
      <vt:lpstr>think-cell Slide</vt:lpstr>
      <vt:lpstr>THE PRINCE’S TRUS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3-10-24T16:33:4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